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</p:sldMasterIdLst>
  <p:notesMasterIdLst>
    <p:notesMasterId r:id="rId8"/>
  </p:notesMasterIdLst>
  <p:sldIdLst>
    <p:sldId id="1624" r:id="rId3"/>
    <p:sldId id="4470" r:id="rId4"/>
    <p:sldId id="4518" r:id="rId5"/>
    <p:sldId id="4519" r:id="rId6"/>
    <p:sldId id="4472" r:id="rId7"/>
  </p:sldIdLst>
  <p:sldSz cx="12192000" cy="6858000"/>
  <p:notesSz cx="6858000" cy="9144000"/>
  <p:custDataLst>
    <p:tags r:id="rId9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8" userDrawn="1">
          <p15:clr>
            <a:srgbClr val="A4A3A4"/>
          </p15:clr>
        </p15:guide>
        <p15:guide id="2" pos="5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FF0000"/>
    <a:srgbClr val="00FF00"/>
    <a:srgbClr val="D31145"/>
    <a:srgbClr val="FF33CC"/>
    <a:srgbClr val="3333CC"/>
    <a:srgbClr val="FF9900"/>
    <a:srgbClr val="00B050"/>
    <a:srgbClr val="800000"/>
    <a:srgbClr val="EAEF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352" autoAdjust="0"/>
    <p:restoredTop sz="94641" autoAdjust="0"/>
  </p:normalViewPr>
  <p:slideViewPr>
    <p:cSldViewPr snapToGrid="0">
      <p:cViewPr varScale="1">
        <p:scale>
          <a:sx n="104" d="100"/>
          <a:sy n="104" d="100"/>
        </p:scale>
        <p:origin x="1116" y="126"/>
      </p:cViewPr>
      <p:guideLst>
        <p:guide orient="horz" pos="958"/>
        <p:guide pos="57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5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76982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5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5.11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5.11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7.sv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5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0" y="3828910"/>
            <a:ext cx="12192000" cy="2236911"/>
          </a:xfrm>
        </p:spPr>
        <p:txBody>
          <a:bodyPr>
            <a:normAutofit fontScale="92500" lnSpcReduction="10000"/>
          </a:bodyPr>
          <a:lstStyle/>
          <a:p>
            <a:r>
              <a:rPr lang="cs-CZ" sz="5200" b="1" i="1" dirty="0"/>
              <a:t>Rizikové faktory: </a:t>
            </a:r>
          </a:p>
          <a:p>
            <a:r>
              <a:rPr lang="cs-CZ" sz="5200" b="1" i="1" dirty="0"/>
              <a:t>prediktory rizikového vývoje </a:t>
            </a:r>
          </a:p>
          <a:p>
            <a:r>
              <a:rPr lang="cs-CZ" sz="5200" b="1" i="1" dirty="0"/>
              <a:t>Data k 15.11. 2021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23007466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39584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 po posouzení vývoje epidemie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Obdélník 5"/>
          <p:cNvSpPr/>
          <p:nvPr/>
        </p:nvSpPr>
        <p:spPr>
          <a:xfrm>
            <a:off x="61569" y="1993102"/>
            <a:ext cx="332612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GISTIKA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amp;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AGEMENT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</a:t>
            </a: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C4938461-0B83-4D40-9212-EBDAB161A591}"/>
              </a:ext>
            </a:extLst>
          </p:cNvPr>
          <p:cNvSpPr/>
          <p:nvPr/>
        </p:nvSpPr>
        <p:spPr>
          <a:xfrm>
            <a:off x="74302" y="2733486"/>
            <a:ext cx="3168013" cy="43088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kriminační PCR (% z pozitivních, 7 denní průměr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sované případy (%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sování: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řešené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řípady z pozitivních do 24h (%; za 7 dní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sování: 7denní průměrný počet hlášených kontaktů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končené základní očkování (%): celá populace, populace 16+, 65+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ilující dávka (% osob, které mají nárok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CR t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ů / 100tis. obyv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klinicky a diagnosticky indikovaných testů /100 tis. obyv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Obdélník 36">
            <a:extLst>
              <a:ext uri="{FF2B5EF4-FFF2-40B4-BE49-F238E27FC236}">
                <a16:creationId xmlns:a16="http://schemas.microsoft.com/office/drawing/2014/main" id="{DA0BCFD0-73F7-4008-9028-D76EFC152194}"/>
              </a:ext>
            </a:extLst>
          </p:cNvPr>
          <p:cNvSpPr/>
          <p:nvPr/>
        </p:nvSpPr>
        <p:spPr>
          <a:xfrm>
            <a:off x="3617601" y="629222"/>
            <a:ext cx="298322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PULAČNÍ UKAZATELE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5E52BFD5-049A-490E-8DCA-E22F6FB8CE24}"/>
              </a:ext>
            </a:extLst>
          </p:cNvPr>
          <p:cNvSpPr/>
          <p:nvPr/>
        </p:nvSpPr>
        <p:spPr>
          <a:xfrm>
            <a:off x="3617601" y="3631240"/>
            <a:ext cx="378332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AVOTNÍ DOPAD COVID-19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bdélník 38">
            <a:extLst>
              <a:ext uri="{FF2B5EF4-FFF2-40B4-BE49-F238E27FC236}">
                <a16:creationId xmlns:a16="http://schemas.microsoft.com/office/drawing/2014/main" id="{4E30E596-1F26-4643-B6BC-D3AB0BB31AD9}"/>
              </a:ext>
            </a:extLst>
          </p:cNvPr>
          <p:cNvSpPr/>
          <p:nvPr/>
        </p:nvSpPr>
        <p:spPr>
          <a:xfrm>
            <a:off x="3674751" y="964859"/>
            <a:ext cx="322135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/ 100tis. obyv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symptomatických případů / 100 tis. obyv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hodnota R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 denní relativní pozitivita (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g+Ep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indikovaných testů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 65+/ 100tis. obyv. 65+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í pozitivita indikovaných (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g+Ep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testů 65+</a:t>
            </a:r>
          </a:p>
        </p:txBody>
      </p:sp>
      <p:sp>
        <p:nvSpPr>
          <p:cNvPr id="40" name="Obdélník 39">
            <a:extLst>
              <a:ext uri="{FF2B5EF4-FFF2-40B4-BE49-F238E27FC236}">
                <a16:creationId xmlns:a16="http://schemas.microsoft.com/office/drawing/2014/main" id="{688E0A35-C432-490F-ABAD-E5A2CA43294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693799" y="3966877"/>
            <a:ext cx="4177060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nových příjmů do nemocnic                 / 100tis. obyv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nových příjmů na JIP (včetně překladů) / 100tis. obyv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funkční kapacita JIP (% celkové kapacity)*</a:t>
            </a: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í celkem k danému dni / 100 tis. obyv.</a:t>
            </a: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í na JIP k danému dni / 100 tis. obyv.</a:t>
            </a: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 na UPV/ECMO k danému dni / 100 tis. obyv.</a:t>
            </a: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ložnost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IP pacienty s COVID-19 v % aktuální celkové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acity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</a:t>
            </a:r>
          </a:p>
        </p:txBody>
      </p:sp>
      <p:sp>
        <p:nvSpPr>
          <p:cNvPr id="41" name="Obdélník 40">
            <a:extLst>
              <a:ext uri="{FF2B5EF4-FFF2-40B4-BE49-F238E27FC236}">
                <a16:creationId xmlns:a16="http://schemas.microsoft.com/office/drawing/2014/main" id="{EF139F39-ED57-4C2F-A850-CD97352824B3}"/>
              </a:ext>
            </a:extLst>
          </p:cNvPr>
          <p:cNvSpPr/>
          <p:nvPr/>
        </p:nvSpPr>
        <p:spPr>
          <a:xfrm>
            <a:off x="8145182" y="993434"/>
            <a:ext cx="388940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PULACE S DOKONČENÝM OČKOVÁNÍM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&gt; 14 dní po 2. dávce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CE776797-17C7-4A17-BD5F-FFD4924A80DC}"/>
              </a:ext>
            </a:extLst>
          </p:cNvPr>
          <p:cNvSpPr/>
          <p:nvPr/>
        </p:nvSpPr>
        <p:spPr>
          <a:xfrm>
            <a:off x="8116606" y="1727875"/>
            <a:ext cx="3889408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 po dokončeném očkování/ 100tis. obyv. v celé populaci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 po dokončeném očkování / 100tis. obyv. s dokončeným očkováním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symptomatických případů / 100 tis. obyv. s dokončeným očkováním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í pozitivita (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g+Ep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indikovaných testů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 65+/ 100tis. obyv. 65+s dokončeným očkováním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í pozitivita indikovaných (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g+Ep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testů 65+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nových příjmů do nemocnic / 100tis. obyv. s dokončeným očkováním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nových příjmů na JIP (včetně překladů) / 100tis. obyv. s dokončeným očkováním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í na JIP k danému dni / 100 tis. obyv. s dokončeným očkování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Šipka: doprava 50">
            <a:extLst>
              <a:ext uri="{FF2B5EF4-FFF2-40B4-BE49-F238E27FC236}">
                <a16:creationId xmlns:a16="http://schemas.microsoft.com/office/drawing/2014/main" id="{7669635F-69F6-40FC-9E0D-B498AEC34BE3}"/>
              </a:ext>
            </a:extLst>
          </p:cNvPr>
          <p:cNvSpPr/>
          <p:nvPr/>
        </p:nvSpPr>
        <p:spPr>
          <a:xfrm rot="19361708">
            <a:off x="2800956" y="1495011"/>
            <a:ext cx="469933" cy="7694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Šipka: doprava 51">
            <a:extLst>
              <a:ext uri="{FF2B5EF4-FFF2-40B4-BE49-F238E27FC236}">
                <a16:creationId xmlns:a16="http://schemas.microsoft.com/office/drawing/2014/main" id="{DAD487BE-DFC0-415D-96AC-68FD38AFA819}"/>
              </a:ext>
            </a:extLst>
          </p:cNvPr>
          <p:cNvSpPr/>
          <p:nvPr/>
        </p:nvSpPr>
        <p:spPr>
          <a:xfrm rot="5400000">
            <a:off x="4489525" y="3054611"/>
            <a:ext cx="469933" cy="7694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Šipka: doprava 52">
            <a:extLst>
              <a:ext uri="{FF2B5EF4-FFF2-40B4-BE49-F238E27FC236}">
                <a16:creationId xmlns:a16="http://schemas.microsoft.com/office/drawing/2014/main" id="{A9FC6995-CE9C-48B3-A8FE-4FF6F9A79A48}"/>
              </a:ext>
            </a:extLst>
          </p:cNvPr>
          <p:cNvSpPr/>
          <p:nvPr/>
        </p:nvSpPr>
        <p:spPr>
          <a:xfrm>
            <a:off x="7400926" y="4064351"/>
            <a:ext cx="469933" cy="7694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Šipka: doprava 53">
            <a:extLst>
              <a:ext uri="{FF2B5EF4-FFF2-40B4-BE49-F238E27FC236}">
                <a16:creationId xmlns:a16="http://schemas.microsoft.com/office/drawing/2014/main" id="{ACC5C1B8-6468-4BF5-AE22-6DF507618EAD}"/>
              </a:ext>
            </a:extLst>
          </p:cNvPr>
          <p:cNvSpPr/>
          <p:nvPr/>
        </p:nvSpPr>
        <p:spPr>
          <a:xfrm>
            <a:off x="7288833" y="1663904"/>
            <a:ext cx="469933" cy="7694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E53F66A3-BC4D-419E-B8C1-775BBDE263FB}"/>
              </a:ext>
            </a:extLst>
          </p:cNvPr>
          <p:cNvSpPr txBox="1"/>
          <p:nvPr/>
        </p:nvSpPr>
        <p:spPr>
          <a:xfrm>
            <a:off x="8272582" y="6211669"/>
            <a:ext cx="37811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Dostupná (plně funkční) kapacita lůžek JIP dle Národního dispečinku lůžkové péče;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 Celková kapacita lůžkového fondu (smluvní počet lůžek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40739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 po posouzení vývoje epidemie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2" name="Tabulka 21">
            <a:extLst>
              <a:ext uri="{FF2B5EF4-FFF2-40B4-BE49-F238E27FC236}">
                <a16:creationId xmlns:a16="http://schemas.microsoft.com/office/drawing/2014/main" id="{0F532DB9-8A49-4532-8F7E-A99DB5C40FA9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3610"/>
              </p:ext>
            </p:extLst>
          </p:nvPr>
        </p:nvGraphicFramePr>
        <p:xfrm>
          <a:off x="107354" y="1313136"/>
          <a:ext cx="3771899" cy="385072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45346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640753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11117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LOGISTIKA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 &amp; MANAGEMENT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EPIDEMIE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skriminační PCR (% z pozitivních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ané případy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 vyřešené případy z pozitivních do 24h (%; za 7 dní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7denní průměrný počet hlášených kontak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</a:rPr>
                        <a:t>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16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7924369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705046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celá populac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3629135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silující dávka (% osob, které mají náro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,9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CR testů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3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822544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42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440519"/>
                  </a:ext>
                </a:extLst>
              </a:tr>
            </a:tbl>
          </a:graphicData>
        </a:graphic>
      </p:graphicFrame>
      <p:graphicFrame>
        <p:nvGraphicFramePr>
          <p:cNvPr id="23" name="Tabulka 22">
            <a:extLst>
              <a:ext uri="{FF2B5EF4-FFF2-40B4-BE49-F238E27FC236}">
                <a16:creationId xmlns:a16="http://schemas.microsoft.com/office/drawing/2014/main" id="{1F94E2A2-209A-4845-812E-17757BC91BE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0908"/>
              </p:ext>
            </p:extLst>
          </p:nvPr>
        </p:nvGraphicFramePr>
        <p:xfrm>
          <a:off x="4027940" y="1313135"/>
          <a:ext cx="3886199" cy="302100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38425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57225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90549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7098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POPULA</a:t>
                      </a: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ČNÍ UKAZATELE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43422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7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3422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1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090560"/>
                  </a:ext>
                </a:extLst>
              </a:tr>
              <a:tr h="39179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hodnota 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42993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relativní pozitivita (Dg+Epi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42993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6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42993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Dg+Epi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</a:tbl>
          </a:graphicData>
        </a:graphic>
      </p:graphicFrame>
      <p:graphicFrame>
        <p:nvGraphicFramePr>
          <p:cNvPr id="24" name="Tabulka 23">
            <a:extLst>
              <a:ext uri="{FF2B5EF4-FFF2-40B4-BE49-F238E27FC236}">
                <a16:creationId xmlns:a16="http://schemas.microsoft.com/office/drawing/2014/main" id="{7A86019B-54FD-4C3D-9845-0E85E2D3D6B7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48118165"/>
              </p:ext>
            </p:extLst>
          </p:nvPr>
        </p:nvGraphicFramePr>
        <p:xfrm>
          <a:off x="8083409" y="1313136"/>
          <a:ext cx="3886199" cy="302100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11360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4619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628649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4993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ZDRAVOTNÍ DOPAD COVID-19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6757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2207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261566"/>
                  </a:ext>
                </a:extLst>
              </a:tr>
              <a:tr h="33165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stupná funkční kapacita JIP (% celkové kapacity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2222971"/>
                  </a:ext>
                </a:extLst>
              </a:tr>
              <a:tr h="33165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celkem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ložnost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JIP pacienty s COVID-19 v % aktuální celkové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pacity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442261"/>
                  </a:ext>
                </a:extLst>
              </a:tr>
            </a:tbl>
          </a:graphicData>
        </a:graphic>
      </p:graphicFrame>
      <p:sp>
        <p:nvSpPr>
          <p:cNvPr id="26" name="TextovéPole 25">
            <a:extLst>
              <a:ext uri="{FF2B5EF4-FFF2-40B4-BE49-F238E27FC236}">
                <a16:creationId xmlns:a16="http://schemas.microsoft.com/office/drawing/2014/main" id="{915B2B79-3BEF-44FC-A588-61C720C0CBF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1512" y="647308"/>
            <a:ext cx="1295547" cy="369332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.11. 2021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1A897995-A06E-40E8-A552-6EE985458E1A}"/>
              </a:ext>
            </a:extLst>
          </p:cNvPr>
          <p:cNvSpPr txBox="1"/>
          <p:nvPr/>
        </p:nvSpPr>
        <p:spPr>
          <a:xfrm>
            <a:off x="3077692" y="5842996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▲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4B027ACE-6FAB-434A-9D34-20AFEAFDDE19}"/>
              </a:ext>
            </a:extLst>
          </p:cNvPr>
          <p:cNvSpPr txBox="1"/>
          <p:nvPr/>
        </p:nvSpPr>
        <p:spPr>
          <a:xfrm>
            <a:off x="3290554" y="5861102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▼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E82B42D4-E40E-4ED7-AF7E-22E986ED9DD5}"/>
              </a:ext>
            </a:extLst>
          </p:cNvPr>
          <p:cNvSpPr txBox="1"/>
          <p:nvPr/>
        </p:nvSpPr>
        <p:spPr>
          <a:xfrm>
            <a:off x="3085124" y="6178787"/>
            <a:ext cx="3032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zistentní trend směrem k rizikovým hodnotám indikátoru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9BB08CE-A51A-49E7-B70E-AE6DB70183D6}"/>
              </a:ext>
            </a:extLst>
          </p:cNvPr>
          <p:cNvSpPr txBox="1"/>
          <p:nvPr/>
        </p:nvSpPr>
        <p:spPr>
          <a:xfrm>
            <a:off x="6485298" y="5869832"/>
            <a:ext cx="7171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&lt;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1A01E7C4-A7CE-4445-90B4-93DEFA59BB6E}"/>
              </a:ext>
            </a:extLst>
          </p:cNvPr>
          <p:cNvSpPr txBox="1"/>
          <p:nvPr/>
        </p:nvSpPr>
        <p:spPr>
          <a:xfrm>
            <a:off x="6423677" y="6284534"/>
            <a:ext cx="23274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ost hodnot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03DC762C-26E4-4A97-93EE-8011CAB0E26E}"/>
              </a:ext>
            </a:extLst>
          </p:cNvPr>
          <p:cNvSpPr txBox="1"/>
          <p:nvPr/>
        </p:nvSpPr>
        <p:spPr>
          <a:xfrm>
            <a:off x="-53410" y="5818597"/>
            <a:ext cx="37161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●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39867C17-1EB5-45DA-9DE1-003901236E59}"/>
              </a:ext>
            </a:extLst>
          </p:cNvPr>
          <p:cNvSpPr txBox="1"/>
          <p:nvPr/>
        </p:nvSpPr>
        <p:spPr>
          <a:xfrm>
            <a:off x="49953" y="5208753"/>
            <a:ext cx="32406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.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: není specifikováno (není hodnoceno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EBEBA949-A53A-4C82-BBBF-B64F0C92515A}"/>
              </a:ext>
            </a:extLst>
          </p:cNvPr>
          <p:cNvSpPr txBox="1"/>
          <p:nvPr/>
        </p:nvSpPr>
        <p:spPr>
          <a:xfrm>
            <a:off x="-40872" y="6167352"/>
            <a:ext cx="33334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dnota indikátoru mimo riziko, bez rizikového trendu (scénář 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D1517A8F-71AD-4F8A-B597-6E4C7CF77FC3}"/>
              </a:ext>
            </a:extLst>
          </p:cNvPr>
          <p:cNvSpPr txBox="1"/>
          <p:nvPr/>
        </p:nvSpPr>
        <p:spPr>
          <a:xfrm>
            <a:off x="9341185" y="5869832"/>
            <a:ext cx="534997" cy="369332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5199FCE-D8C3-4F85-88F0-66D401D4C862}"/>
              </a:ext>
            </a:extLst>
          </p:cNvPr>
          <p:cNvSpPr txBox="1"/>
          <p:nvPr/>
        </p:nvSpPr>
        <p:spPr>
          <a:xfrm>
            <a:off x="9279432" y="6289211"/>
            <a:ext cx="28155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á hodnota (scénář I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61465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 po posouzení vývoje epidemie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5" name="Tabulka 24">
            <a:extLst>
              <a:ext uri="{FF2B5EF4-FFF2-40B4-BE49-F238E27FC236}">
                <a16:creationId xmlns:a16="http://schemas.microsoft.com/office/drawing/2014/main" id="{9F1A6B3C-5D86-41F8-9A05-F9692C3D54A3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4893015"/>
              </p:ext>
            </p:extLst>
          </p:nvPr>
        </p:nvGraphicFramePr>
        <p:xfrm>
          <a:off x="4468046" y="1201878"/>
          <a:ext cx="4007710" cy="427309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19520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70485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83340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2454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S DOKONČENÝM OČKOVÁNÍM</a:t>
                      </a:r>
                      <a:endParaRPr lang="cs-CZ" sz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po dokončeném očkování / 100tis. obyv.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558024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7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4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8811140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8833963"/>
                  </a:ext>
                </a:extLst>
              </a:tr>
            </a:tbl>
          </a:graphicData>
        </a:graphic>
      </p:graphicFrame>
      <p:sp>
        <p:nvSpPr>
          <p:cNvPr id="26" name="TextovéPole 25">
            <a:extLst>
              <a:ext uri="{FF2B5EF4-FFF2-40B4-BE49-F238E27FC236}">
                <a16:creationId xmlns:a16="http://schemas.microsoft.com/office/drawing/2014/main" id="{915B2B79-3BEF-44FC-A588-61C720C0CBF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1512" y="647308"/>
            <a:ext cx="1295547" cy="369332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.11. 2021</a:t>
            </a:r>
          </a:p>
        </p:txBody>
      </p:sp>
      <p:graphicFrame>
        <p:nvGraphicFramePr>
          <p:cNvPr id="29" name="Tabulka 28">
            <a:extLst>
              <a:ext uri="{FF2B5EF4-FFF2-40B4-BE49-F238E27FC236}">
                <a16:creationId xmlns:a16="http://schemas.microsoft.com/office/drawing/2014/main" id="{963A3029-6770-4837-AFC6-FBE9FB18922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40346362"/>
              </p:ext>
            </p:extLst>
          </p:nvPr>
        </p:nvGraphicFramePr>
        <p:xfrm>
          <a:off x="275000" y="1201879"/>
          <a:ext cx="4007710" cy="427309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19520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70485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83340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2454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NEOČKOVANÁ NEBO S NEDOKONČENÝM OČKOVÁNÍM</a:t>
                      </a:r>
                      <a:endParaRPr lang="cs-CZ" sz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 / 100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63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558024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1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7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8811140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0073058"/>
                  </a:ext>
                </a:extLst>
              </a:tr>
            </a:tbl>
          </a:graphicData>
        </a:graphic>
      </p:graphicFrame>
      <p:graphicFrame>
        <p:nvGraphicFramePr>
          <p:cNvPr id="22" name="Tabulka 21">
            <a:extLst>
              <a:ext uri="{FF2B5EF4-FFF2-40B4-BE49-F238E27FC236}">
                <a16:creationId xmlns:a16="http://schemas.microsoft.com/office/drawing/2014/main" id="{256C204E-ADA7-4ADE-A102-442FD6245E1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75837298"/>
              </p:ext>
            </p:extLst>
          </p:nvPr>
        </p:nvGraphicFramePr>
        <p:xfrm>
          <a:off x="8661092" y="1194637"/>
          <a:ext cx="3424370" cy="357451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19520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70485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</a:tblGrid>
              <a:tr h="389320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u="sng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CELÁ POPULACE</a:t>
                      </a:r>
                      <a:r>
                        <a:rPr lang="cs-CZ" sz="11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 </a:t>
                      </a: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OCHRANNÝ EFEKT (OE) OČKOVÁNÍ *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3408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NÁKAZ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9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558024"/>
                  </a:ext>
                </a:extLst>
              </a:tr>
              <a:tr h="36072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HOSPITALIZACI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3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36804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JIP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5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UPV/ECM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u="sng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65+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OCHRANNÝ EFEKT (OE) OČKOVÁNÍ *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2513746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NÁKAZ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8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9978021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HOSPITALIZACI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7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0541005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JIP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2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88268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UPV/ECM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7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3129300"/>
                  </a:ext>
                </a:extLst>
              </a:tr>
            </a:tbl>
          </a:graphicData>
        </a:graphic>
      </p:graphicFrame>
      <p:sp>
        <p:nvSpPr>
          <p:cNvPr id="23" name="TextovéPole 22">
            <a:extLst>
              <a:ext uri="{FF2B5EF4-FFF2-40B4-BE49-F238E27FC236}">
                <a16:creationId xmlns:a16="http://schemas.microsoft.com/office/drawing/2014/main" id="{96424B97-D860-4633-A02F-75BD15683942}"/>
              </a:ext>
            </a:extLst>
          </p:cNvPr>
          <p:cNvSpPr txBox="1"/>
          <p:nvPr/>
        </p:nvSpPr>
        <p:spPr>
          <a:xfrm>
            <a:off x="3144367" y="5909671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▲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80B8081-94BB-4423-81C0-D0F83BEBCD5D}"/>
              </a:ext>
            </a:extLst>
          </p:cNvPr>
          <p:cNvSpPr txBox="1"/>
          <p:nvPr/>
        </p:nvSpPr>
        <p:spPr>
          <a:xfrm>
            <a:off x="3357229" y="5927777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▼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88216448-CF52-4CE8-AD3F-6590D1166279}"/>
              </a:ext>
            </a:extLst>
          </p:cNvPr>
          <p:cNvSpPr txBox="1"/>
          <p:nvPr/>
        </p:nvSpPr>
        <p:spPr>
          <a:xfrm>
            <a:off x="3151799" y="6274037"/>
            <a:ext cx="3032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zistentní trend směrem k rizikovým hodnotám indikátoru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963105EB-4C01-4594-A3F4-69A24C384C1B}"/>
              </a:ext>
            </a:extLst>
          </p:cNvPr>
          <p:cNvSpPr txBox="1"/>
          <p:nvPr/>
        </p:nvSpPr>
        <p:spPr>
          <a:xfrm>
            <a:off x="6551973" y="5936507"/>
            <a:ext cx="7171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&lt;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596435E0-ECE2-408A-A7D2-45948EC8DD07}"/>
              </a:ext>
            </a:extLst>
          </p:cNvPr>
          <p:cNvSpPr txBox="1"/>
          <p:nvPr/>
        </p:nvSpPr>
        <p:spPr>
          <a:xfrm>
            <a:off x="6490352" y="6351209"/>
            <a:ext cx="23274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ost hodnot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6A8F8A2D-C998-45E8-A477-0FE54924F4DB}"/>
              </a:ext>
            </a:extLst>
          </p:cNvPr>
          <p:cNvSpPr txBox="1"/>
          <p:nvPr/>
        </p:nvSpPr>
        <p:spPr>
          <a:xfrm>
            <a:off x="13265" y="5885272"/>
            <a:ext cx="37161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●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43ADE43F-080A-43CA-B30C-B11E6EA69940}"/>
              </a:ext>
            </a:extLst>
          </p:cNvPr>
          <p:cNvSpPr txBox="1"/>
          <p:nvPr/>
        </p:nvSpPr>
        <p:spPr>
          <a:xfrm>
            <a:off x="25803" y="6262602"/>
            <a:ext cx="33334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dnota indikátoru mimo riziko, bez rizikového trendu (scénář 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7AD9E94C-366A-428C-8246-1D6C4A93B413}"/>
              </a:ext>
            </a:extLst>
          </p:cNvPr>
          <p:cNvSpPr txBox="1"/>
          <p:nvPr/>
        </p:nvSpPr>
        <p:spPr>
          <a:xfrm>
            <a:off x="9407860" y="5936507"/>
            <a:ext cx="534997" cy="369332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E75A587-2B96-4490-A547-155091FE77FA}"/>
              </a:ext>
            </a:extLst>
          </p:cNvPr>
          <p:cNvSpPr txBox="1"/>
          <p:nvPr/>
        </p:nvSpPr>
        <p:spPr>
          <a:xfrm>
            <a:off x="9346107" y="6355886"/>
            <a:ext cx="28155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á hodnota (scénář I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8A13EED6-7BE9-4DD5-B41D-847758B5E561}"/>
              </a:ext>
            </a:extLst>
          </p:cNvPr>
          <p:cNvSpPr txBox="1"/>
          <p:nvPr/>
        </p:nvSpPr>
        <p:spPr>
          <a:xfrm>
            <a:off x="8569436" y="4814525"/>
            <a:ext cx="34697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Kalkulováno ze 7denních kumulativních počtů případů onemocnění; vždy ve srovnání populace s dokončeným očkováním vs. populace neočkovaná nebo s nedokončeným očkováním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655097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: </a:t>
            </a: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raniční rizikové hodnoty 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363D1FB2-29AD-41A2-A944-285E36ABF2CE}"/>
              </a:ext>
            </a:extLst>
          </p:cNvPr>
          <p:cNvGraphicFramePr>
            <a:graphicFrameLocks noGrp="1"/>
          </p:cNvGraphicFramePr>
          <p:nvPr/>
        </p:nvGraphicFramePr>
        <p:xfrm>
          <a:off x="107354" y="1570311"/>
          <a:ext cx="3771899" cy="402117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10695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53143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41175">
                  <a:extLst>
                    <a:ext uri="{9D8B030D-6E8A-4147-A177-3AD203B41FA5}">
                      <a16:colId xmlns:a16="http://schemas.microsoft.com/office/drawing/2014/main" val="52458354"/>
                    </a:ext>
                  </a:extLst>
                </a:gridCol>
                <a:gridCol w="566886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11117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LOGISTIKA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 &amp; MANAGEMENT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EPIDEMIE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20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skriminační PCR </a:t>
                      </a:r>
                    </a:p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% z pozitivních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ané případy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 vyřešené případy z pozitivních do 24h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7denní průměrný počet hlášených kontak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16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7924369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9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705046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celá populac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C000"/>
                        </a:solidFill>
                        <a:effectLst/>
                        <a:highlight>
                          <a:srgbClr val="FFFF00"/>
                        </a:highlight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silující dávk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100" b="0" i="0" u="none" strike="noStrike" dirty="0">
                        <a:solidFill>
                          <a:srgbClr val="00B050"/>
                        </a:solidFill>
                        <a:effectLst/>
                        <a:highlight>
                          <a:srgbClr val="FFFF00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90853850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CR testů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1337719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1" i="0" u="none" strike="noStrike" dirty="0">
                        <a:solidFill>
                          <a:srgbClr val="FFC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8844813"/>
                  </a:ext>
                </a:extLst>
              </a:tr>
            </a:tbl>
          </a:graphicData>
        </a:graphic>
      </p:graphicFrame>
      <p:graphicFrame>
        <p:nvGraphicFramePr>
          <p:cNvPr id="16" name="Tabulka 15">
            <a:extLst>
              <a:ext uri="{FF2B5EF4-FFF2-40B4-BE49-F238E27FC236}">
                <a16:creationId xmlns:a16="http://schemas.microsoft.com/office/drawing/2014/main" id="{68F18E96-B98E-4A20-8F79-E9B9D681C7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6106705"/>
              </p:ext>
            </p:extLst>
          </p:nvPr>
        </p:nvGraphicFramePr>
        <p:xfrm>
          <a:off x="4067174" y="1570309"/>
          <a:ext cx="3886200" cy="3001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62054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49172">
                  <a:extLst>
                    <a:ext uri="{9D8B030D-6E8A-4147-A177-3AD203B41FA5}">
                      <a16:colId xmlns:a16="http://schemas.microsoft.com/office/drawing/2014/main" val="4105667536"/>
                    </a:ext>
                  </a:extLst>
                </a:gridCol>
                <a:gridCol w="551099">
                  <a:extLst>
                    <a:ext uri="{9D8B030D-6E8A-4147-A177-3AD203B41FA5}">
                      <a16:colId xmlns:a16="http://schemas.microsoft.com/office/drawing/2014/main" val="828973669"/>
                    </a:ext>
                  </a:extLst>
                </a:gridCol>
              </a:tblGrid>
              <a:tr h="484734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POPULA</a:t>
                      </a: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ČNÍ UKAZATELE*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!</a:t>
                      </a:r>
                      <a:endParaRPr lang="en-US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44689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00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4689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0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090560"/>
                  </a:ext>
                </a:extLst>
              </a:tr>
              <a:tr h="403229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hodnota 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.5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40654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relativní pozitivita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%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40654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0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40654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</a:tbl>
          </a:graphicData>
        </a:graphic>
      </p:graphicFrame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6745305C-602B-437F-BBCD-88C47A4E80E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80819"/>
              </p:ext>
            </p:extLst>
          </p:nvPr>
        </p:nvGraphicFramePr>
        <p:xfrm>
          <a:off x="8175960" y="1570311"/>
          <a:ext cx="3884955" cy="3001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76153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05147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61975">
                  <a:extLst>
                    <a:ext uri="{9D8B030D-6E8A-4147-A177-3AD203B41FA5}">
                      <a16:colId xmlns:a16="http://schemas.microsoft.com/office/drawing/2014/main" val="2593690651"/>
                    </a:ext>
                  </a:extLst>
                </a:gridCol>
                <a:gridCol w="541680">
                  <a:extLst>
                    <a:ext uri="{9D8B030D-6E8A-4147-A177-3AD203B41FA5}">
                      <a16:colId xmlns:a16="http://schemas.microsoft.com/office/drawing/2014/main" val="2874801908"/>
                    </a:ext>
                  </a:extLst>
                </a:gridCol>
              </a:tblGrid>
              <a:tr h="44993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ZDRAVOTNÍ DOPAD COVID-19*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Arial Black" panose="020B0A04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!</a:t>
                      </a:r>
                      <a:endParaRPr lang="en-US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6757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5,0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4073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2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3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261566"/>
                  </a:ext>
                </a:extLst>
              </a:tr>
              <a:tr h="32657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stupná funkční kapacita JIP (% celkové kapacity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lt; 40%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lt; 30%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lt;</a:t>
                      </a:r>
                      <a:r>
                        <a:rPr lang="cs-CZ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20%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5628004"/>
                  </a:ext>
                </a:extLst>
              </a:tr>
              <a:tr h="32437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celkem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4001286"/>
                  </a:ext>
                </a:extLst>
              </a:tr>
              <a:tr h="33165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2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4,0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29569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ložnost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JIP pacienty s COVID-19 v % aktuální celkové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pacity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</a:t>
                      </a:r>
                      <a:r>
                        <a:rPr lang="cs-CZ" sz="11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%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5% 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</a:tbl>
          </a:graphicData>
        </a:graphic>
      </p:graphicFrame>
      <p:sp>
        <p:nvSpPr>
          <p:cNvPr id="22" name="TextovéPole 21">
            <a:extLst>
              <a:ext uri="{FF2B5EF4-FFF2-40B4-BE49-F238E27FC236}">
                <a16:creationId xmlns:a16="http://schemas.microsoft.com/office/drawing/2014/main" id="{2DB09875-B016-49E4-BC18-2DC626B60AB6}"/>
              </a:ext>
            </a:extLst>
          </p:cNvPr>
          <p:cNvSpPr txBox="1"/>
          <p:nvPr/>
        </p:nvSpPr>
        <p:spPr>
          <a:xfrm flipH="1">
            <a:off x="207821" y="989225"/>
            <a:ext cx="11782055" cy="3754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!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Vykřičníky označují tři hranice rizika, odpovídající rizikovým scénářům vývoj I &lt; II &lt; III. Některé ukazatele mají pouze dvě rizikové hladiny hodnot, některé žádnou.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48D8BBF1-D0B5-4D10-AF3E-876A6FC2CF3F}"/>
              </a:ext>
            </a:extLst>
          </p:cNvPr>
          <p:cNvSpPr txBox="1"/>
          <p:nvPr/>
        </p:nvSpPr>
        <p:spPr>
          <a:xfrm>
            <a:off x="76200" y="5741127"/>
            <a:ext cx="32406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.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: není specifikováno (není hodnoceno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8846608-7229-4ED5-A2FC-9D0F2682C675}"/>
              </a:ext>
            </a:extLst>
          </p:cNvPr>
          <p:cNvSpPr txBox="1"/>
          <p:nvPr/>
        </p:nvSpPr>
        <p:spPr>
          <a:xfrm>
            <a:off x="4635201" y="5245926"/>
            <a:ext cx="64423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Stejné hranice jsou aplikovány při hodnocení situace odděleně v populaci neočkovaných osob, osob s nedokončeným očkováním a v populaci osob s dokončeným očkováním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9408307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587</TotalTime>
  <Words>1712</Words>
  <Application>Microsoft Office PowerPoint</Application>
  <PresentationFormat>Širokoúhlá obrazovka</PresentationFormat>
  <Paragraphs>342</Paragraphs>
  <Slides>5</Slides>
  <Notes>1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5</vt:i4>
      </vt:variant>
    </vt:vector>
  </HeadingPairs>
  <TitlesOfParts>
    <vt:vector size="12" baseType="lpstr">
      <vt:lpstr>Arial</vt:lpstr>
      <vt:lpstr>Arial Black</vt:lpstr>
      <vt:lpstr>Calibri</vt:lpstr>
      <vt:lpstr>Calibri Light</vt:lpstr>
      <vt:lpstr>Wingdings</vt:lpstr>
      <vt:lpstr>Motiv Office</vt:lpstr>
      <vt:lpstr>1_Motiv systému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;Ladislav Dušek</dc:creator>
  <cp:lastModifiedBy>Dušek Ladislav prof. RNDr. Ph.D.</cp:lastModifiedBy>
  <cp:revision>2267</cp:revision>
  <dcterms:created xsi:type="dcterms:W3CDTF">2020-03-16T10:06:11Z</dcterms:created>
  <dcterms:modified xsi:type="dcterms:W3CDTF">2021-11-15T07:41:46Z</dcterms:modified>
</cp:coreProperties>
</file>